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C60018"/>
    <a:srgbClr val="8D8D8D"/>
    <a:srgbClr val="5A5A5A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Weigel Stefan (PAR-EPS)" userId="fd3b2067-2981-4ad8-bf3a-d2e1004e4fa8" providerId="ADAL" clId="{AB93331D-ED0C-4403-97CA-2B4E18451580}"/>
    <pc:docChg chg="modSld">
      <pc:chgData name="Weigel Stefan (PAR-EPS)" userId="fd3b2067-2981-4ad8-bf3a-d2e1004e4fa8" providerId="ADAL" clId="{AB93331D-ED0C-4403-97CA-2B4E18451580}" dt="2024-02-13T15:36:36.100" v="12"/>
      <pc:docMkLst>
        <pc:docMk/>
      </pc:docMkLst>
      <pc:sldChg chg="modSp mod">
        <pc:chgData name="Weigel Stefan (PAR-EPS)" userId="fd3b2067-2981-4ad8-bf3a-d2e1004e4fa8" providerId="ADAL" clId="{AB93331D-ED0C-4403-97CA-2B4E18451580}" dt="2024-02-13T15:36:36.100" v="12"/>
        <pc:sldMkLst>
          <pc:docMk/>
          <pc:sldMk cId="3808035539" sldId="270"/>
        </pc:sldMkLst>
        <pc:spChg chg="mod">
          <ac:chgData name="Weigel Stefan (PAR-EPS)" userId="fd3b2067-2981-4ad8-bf3a-d2e1004e4fa8" providerId="ADAL" clId="{AB93331D-ED0C-4403-97CA-2B4E18451580}" dt="2024-02-13T15:35:57.700" v="11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AB93331D-ED0C-4403-97CA-2B4E18451580}" dt="2024-02-13T15:36:36.100" v="12"/>
          <ac:spMkLst>
            <pc:docMk/>
            <pc:sldMk cId="3808035539" sldId="270"/>
            <ac:spMk id="11" creationId="{C872468D-648C-44F5-8DF7-75B41720E3E9}"/>
          </ac:spMkLst>
        </pc:spChg>
        <pc:spChg chg="mod">
          <ac:chgData name="Weigel Stefan (PAR-EPS)" userId="fd3b2067-2981-4ad8-bf3a-d2e1004e4fa8" providerId="ADAL" clId="{AB93331D-ED0C-4403-97CA-2B4E18451580}" dt="2024-02-13T15:35:44.172" v="8" actId="20577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Weigel Stefan (PAR-EPS)" userId="fd3b2067-2981-4ad8-bf3a-d2e1004e4fa8" providerId="ADAL" clId="{2E6CDDA0-9125-4464-88DB-15FDC4897F5E}"/>
    <pc:docChg chg="modSld">
      <pc:chgData name="Weigel Stefan (PAR-EPS)" userId="fd3b2067-2981-4ad8-bf3a-d2e1004e4fa8" providerId="ADAL" clId="{2E6CDDA0-9125-4464-88DB-15FDC4897F5E}" dt="2024-04-11T14:07:06.249" v="15"/>
      <pc:docMkLst>
        <pc:docMk/>
      </pc:docMkLst>
      <pc:sldChg chg="modSp mod setBg">
        <pc:chgData name="Weigel Stefan (PAR-EPS)" userId="fd3b2067-2981-4ad8-bf3a-d2e1004e4fa8" providerId="ADAL" clId="{2E6CDDA0-9125-4464-88DB-15FDC4897F5E}" dt="2024-04-11T14:07:06.249" v="15"/>
        <pc:sldMkLst>
          <pc:docMk/>
          <pc:sldMk cId="3808035539" sldId="270"/>
        </pc:sldMkLst>
        <pc:spChg chg="mod">
          <ac:chgData name="Weigel Stefan (PAR-EPS)" userId="fd3b2067-2981-4ad8-bf3a-d2e1004e4fa8" providerId="ADAL" clId="{2E6CDDA0-9125-4464-88DB-15FDC4897F5E}" dt="2024-04-11T14:06:25.993" v="11" actId="255"/>
          <ac:spMkLst>
            <pc:docMk/>
            <pc:sldMk cId="3808035539" sldId="270"/>
            <ac:spMk id="12" creationId="{5951AA1F-1F78-4199-A377-9885C86C21AF}"/>
          </ac:spMkLst>
        </pc:spChg>
        <pc:spChg chg="mod">
          <ac:chgData name="Weigel Stefan (PAR-EPS)" userId="fd3b2067-2981-4ad8-bf3a-d2e1004e4fa8" providerId="ADAL" clId="{2E6CDDA0-9125-4464-88DB-15FDC4897F5E}" dt="2024-04-11T14:06:21.246" v="10" actId="25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Weigel Stefan (PAR-EPS)" userId="fd3b2067-2981-4ad8-bf3a-d2e1004e4fa8" providerId="ADAL" clId="{2E6CDDA0-9125-4464-88DB-15FDC4897F5E}" dt="2024-04-11T14:07:06.249" v="15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Weigel Stefan (PAR-EPS)" userId="fd3b2067-2981-4ad8-bf3a-d2e1004e4fa8" providerId="ADAL" clId="{FF05C618-3062-4903-A88B-7534AAB7285A}"/>
    <pc:docChg chg="modSld">
      <pc:chgData name="Weigel Stefan (PAR-EPS)" userId="fd3b2067-2981-4ad8-bf3a-d2e1004e4fa8" providerId="ADAL" clId="{FF05C618-3062-4903-A88B-7534AAB7285A}" dt="2025-02-22T10:56:50.671" v="31" actId="27918"/>
      <pc:docMkLst>
        <pc:docMk/>
      </pc:docMkLst>
      <pc:sldChg chg="modSp mod">
        <pc:chgData name="Weigel Stefan (PAR-EPS)" userId="fd3b2067-2981-4ad8-bf3a-d2e1004e4fa8" providerId="ADAL" clId="{FF05C618-3062-4903-A88B-7534AAB7285A}" dt="2025-02-22T10:56:50.671" v="31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FF05C618-3062-4903-A88B-7534AAB7285A}" dt="2025-02-13T14:23:12.098" v="1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FF05C618-3062-4903-A88B-7534AAB7285A}" dt="2025-02-13T14:23:28.717" v="22" actId="20577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  <pc:docChgLst>
    <pc:chgData name="Weigel Stefan (PAR-EPS)" userId="fd3b2067-2981-4ad8-bf3a-d2e1004e4fa8" providerId="ADAL" clId="{D15B950E-7127-4E3C-97B9-3DEBB5339F24}"/>
    <pc:docChg chg="modSld">
      <pc:chgData name="Weigel Stefan (PAR-EPS)" userId="fd3b2067-2981-4ad8-bf3a-d2e1004e4fa8" providerId="ADAL" clId="{D15B950E-7127-4E3C-97B9-3DEBB5339F24}" dt="2024-02-28T14:02:48.035" v="3" actId="27918"/>
      <pc:docMkLst>
        <pc:docMk/>
      </pc:docMkLst>
      <pc:sldChg chg="mod">
        <pc:chgData name="Weigel Stefan (PAR-EPS)" userId="fd3b2067-2981-4ad8-bf3a-d2e1004e4fa8" providerId="ADAL" clId="{D15B950E-7127-4E3C-97B9-3DEBB5339F24}" dt="2024-02-28T14:02:48.035" v="3" actId="27918"/>
        <pc:sldMkLst>
          <pc:docMk/>
          <pc:sldMk cId="3808035539" sldId="270"/>
        </pc:sldMkLst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54EC38D1-D1ED-4413-AF89-B689DB72A17F}"/>
    <pc:docChg chg="modSld">
      <pc:chgData name="Weigel Stefan (PAR-ES)" userId="fd3b2067-2981-4ad8-bf3a-d2e1004e4fa8" providerId="ADAL" clId="{54EC38D1-D1ED-4413-AF89-B689DB72A17F}" dt="2023-02-01T07:48:01.362" v="46" actId="207"/>
      <pc:docMkLst>
        <pc:docMk/>
      </pc:docMkLst>
      <pc:sldChg chg="modSp mod">
        <pc:chgData name="Weigel Stefan (PAR-ES)" userId="fd3b2067-2981-4ad8-bf3a-d2e1004e4fa8" providerId="ADAL" clId="{54EC38D1-D1ED-4413-AF89-B689DB72A17F}" dt="2023-02-01T07:48:01.362" v="46" actId="207"/>
        <pc:sldMkLst>
          <pc:docMk/>
          <pc:sldMk cId="3808035539" sldId="270"/>
        </pc:sldMkLst>
        <pc:spChg chg="mod">
          <ac:chgData name="Weigel Stefan (PAR-ES)" userId="fd3b2067-2981-4ad8-bf3a-d2e1004e4fa8" providerId="ADAL" clId="{54EC38D1-D1ED-4413-AF89-B689DB72A17F}" dt="2023-02-01T07:22:07.615" v="18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4EC38D1-D1ED-4413-AF89-B689DB72A17F}" dt="2023-02-01T07:22:28.047" v="35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S)" userId="fd3b2067-2981-4ad8-bf3a-d2e1004e4fa8" providerId="ADAL" clId="{54EC38D1-D1ED-4413-AF89-B689DB72A17F}" dt="2023-02-01T07:48:01.362" v="46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BF7BC7E7-8980-4DA8-AC52-BB8231A3306E}"/>
    <pc:docChg chg="modSld">
      <pc:chgData name="Weigel Stefan (PAR-EPS)" userId="fd3b2067-2981-4ad8-bf3a-d2e1004e4fa8" providerId="ADAL" clId="{BF7BC7E7-8980-4DA8-AC52-BB8231A3306E}" dt="2024-02-13T15:32:59.687" v="78" actId="207"/>
      <pc:docMkLst>
        <pc:docMk/>
      </pc:docMkLst>
      <pc:sldChg chg="modSp mod">
        <pc:chgData name="Weigel Stefan (PAR-EPS)" userId="fd3b2067-2981-4ad8-bf3a-d2e1004e4fa8" providerId="ADAL" clId="{BF7BC7E7-8980-4DA8-AC52-BB8231A3306E}" dt="2024-02-13T15:32:59.687" v="78" actId="207"/>
        <pc:sldMkLst>
          <pc:docMk/>
          <pc:sldMk cId="3808035539" sldId="270"/>
        </pc:sldMkLst>
        <pc:spChg chg="mod">
          <ac:chgData name="Weigel Stefan (PAR-EPS)" userId="fd3b2067-2981-4ad8-bf3a-d2e1004e4fa8" providerId="ADAL" clId="{BF7BC7E7-8980-4DA8-AC52-BB8231A3306E}" dt="2024-02-12T18:08:36.657" v="44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F7BC7E7-8980-4DA8-AC52-BB8231A3306E}" dt="2024-02-12T18:09:04.692" v="68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PS)" userId="fd3b2067-2981-4ad8-bf3a-d2e1004e4fa8" providerId="ADAL" clId="{BF7BC7E7-8980-4DA8-AC52-BB8231A3306E}" dt="2024-02-13T15:32:59.687" v="78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LG (LT)</c:v>
                </c:pt>
                <c:pt idx="1">
                  <c:v>SZDC (CZ)</c:v>
                </c:pt>
                <c:pt idx="2">
                  <c:v>Network Rail (GB)</c:v>
                </c:pt>
                <c:pt idx="3">
                  <c:v>FTA (FI)</c:v>
                </c:pt>
                <c:pt idx="4">
                  <c:v>SNCF Réseau (FR)</c:v>
                </c:pt>
                <c:pt idx="5">
                  <c:v>DB AG (DE)</c:v>
                </c:pt>
                <c:pt idx="6">
                  <c:v>PKP (PL)</c:v>
                </c:pt>
                <c:pt idx="7">
                  <c:v>ADIF (ES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FFS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8.1081081081081106</c:v>
                </c:pt>
                <c:pt idx="1">
                  <c:v>34.8486469141085</c:v>
                </c:pt>
                <c:pt idx="2">
                  <c:v>38.405027854834501</c:v>
                </c:pt>
                <c:pt idx="3">
                  <c:v>57.886728655959402</c:v>
                </c:pt>
                <c:pt idx="4">
                  <c:v>59.8352137767221</c:v>
                </c:pt>
                <c:pt idx="5">
                  <c:v>62.314726273009803</c:v>
                </c:pt>
                <c:pt idx="6">
                  <c:v>64.484738913112807</c:v>
                </c:pt>
                <c:pt idx="7">
                  <c:v>66.866892453191895</c:v>
                </c:pt>
                <c:pt idx="8">
                  <c:v>70.997994880299601</c:v>
                </c:pt>
                <c:pt idx="9">
                  <c:v>74.547846103255495</c:v>
                </c:pt>
                <c:pt idx="10">
                  <c:v>76.9040247678019</c:v>
                </c:pt>
                <c:pt idx="11">
                  <c:v>83.250927070457394</c:v>
                </c:pt>
                <c:pt idx="12">
                  <c:v>88.833746898263001</c:v>
                </c:pt>
                <c:pt idx="13">
                  <c:v>96.678966789667896</c:v>
                </c:pt>
                <c:pt idx="14">
                  <c:v>99.978009499924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Elettrificazione delle reti ferroviarie in Europa nel 2023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4213320011"/>
              </p:ext>
            </p:extLst>
          </p:nvPr>
        </p:nvGraphicFramePr>
        <p:xfrm>
          <a:off x="502919" y="1619249"/>
          <a:ext cx="10201593" cy="4257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C872468D-648C-44F5-8DF7-75B41720E3E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400" b="0" i="0" u="none" strike="noStrike" kern="1200" cap="none" spc="30" normalizeH="0" baseline="0" noProof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ratte elettrificate sul totale delle tratte di un gestore dell’infrastruttura</a:t>
            </a:r>
            <a:endParaRPr kumimoji="0" lang="de-CH" sz="1400" b="0" i="0" u="none" strike="noStrike" kern="1200" cap="none" spc="30" normalizeH="0" baseline="0" noProof="0" dirty="0">
              <a:ln>
                <a:noFill/>
              </a:ln>
              <a:solidFill>
                <a:srgbClr val="EB0000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Fonti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UIC, </a:t>
            </a: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Network Rail: 2021, SNCF Réseau: 2022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purl.org/dc/elements/1.1/"/>
    <ds:schemaRef ds:uri="http://schemas.microsoft.com/office/2006/metadata/properties"/>
    <ds:schemaRef ds:uri="http://schemas.microsoft.com/office/infopath/2007/PartnerControls"/>
    <ds:schemaRef ds:uri="96e82a89-ba48-4728-b345-cf206dbec8f1"/>
    <ds:schemaRef ds:uri="http://purl.org/dc/terms/"/>
    <ds:schemaRef ds:uri="2f5c8543-cf23-4718-a3b8-32b0a91d511a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44D2C28-19D7-45E8-9AF7-4327D65FADE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4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ttrificazione delle reti ferroviarie in Europa nel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ttrificazione delle reti ferroviarie in Europa nel 2023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7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